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"/>
  </p:notesMasterIdLst>
  <p:sldIdLst>
    <p:sldId id="257" r:id="rId2"/>
    <p:sldId id="432" r:id="rId3"/>
    <p:sldId id="433" r:id="rId4"/>
    <p:sldId id="434" r:id="rId5"/>
    <p:sldId id="435" r:id="rId6"/>
    <p:sldId id="436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2" d="100"/>
          <a:sy n="152" d="100"/>
        </p:scale>
        <p:origin x="604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7DA40F-0AFC-4044-BA37-62E5C580B324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8CA1E-7987-49F7-99D5-CBFB134BBE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273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DEE44-2F84-48D1-BBF6-82E16595D1F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229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33507000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4378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0842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039216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36565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005710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542882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4451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39751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669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98433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944949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754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960892"/>
            <a:ext cx="11292840" cy="4479059"/>
          </a:xfrm>
        </p:spPr>
        <p:txBody>
          <a:bodyPr/>
          <a:lstStyle>
            <a:lvl1pPr>
              <a:spcBef>
                <a:spcPts val="300"/>
              </a:spcBef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spcBef>
                <a:spcPts val="0"/>
              </a:spcBef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spcBef>
                <a:spcPts val="0"/>
              </a:spcBef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457200" indent="-457200">
              <a:buFont typeface="Arial" panose="020B0604020202020204" pitchFamily="34" charset="0"/>
              <a:buChar char="•"/>
              <a:defRPr/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marL="742950" indent="-17303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cap="none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5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937036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009023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080584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9419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954361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72995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: Bullet, 20pt</a:t>
            </a:r>
          </a:p>
          <a:p>
            <a:pPr lvl="1"/>
            <a:r>
              <a:rPr lang="en-US"/>
              <a:t>Second level: Sub-bullet 1, 18pt</a:t>
            </a:r>
          </a:p>
          <a:p>
            <a:pPr lvl="2"/>
            <a:r>
              <a:rPr lang="en-US"/>
              <a:t>Third level: Sub-bullet 2, 16pt</a:t>
            </a:r>
          </a:p>
          <a:p>
            <a:pPr lvl="3"/>
            <a:r>
              <a:rPr lang="en-US"/>
              <a:t>Fourth level: Heading 1, 28pt</a:t>
            </a:r>
          </a:p>
          <a:p>
            <a:pPr lvl="4"/>
            <a:r>
              <a:rPr lang="en-US"/>
              <a:t>Fifth level: Description 1, 18pt</a:t>
            </a:r>
          </a:p>
          <a:p>
            <a:pPr lvl="5"/>
            <a:r>
              <a:rPr lang="en-US"/>
              <a:t>Sixth level: Heading 2, 22pt</a:t>
            </a:r>
          </a:p>
          <a:p>
            <a:pPr lvl="6"/>
            <a:r>
              <a:rPr lang="en-US"/>
              <a:t>Seventh level: Description 2, 16pt</a:t>
            </a:r>
          </a:p>
          <a:p>
            <a:pPr lvl="7"/>
            <a:r>
              <a:rPr lang="en-US"/>
              <a:t>Eighth level: Stats 1, 36pt</a:t>
            </a:r>
          </a:p>
          <a:p>
            <a:pPr lvl="8"/>
            <a:r>
              <a:rPr lang="en-US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56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hyperlink" Target="https://github.com/opiproject/opi-api/pull/128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577" y="2036540"/>
            <a:ext cx="11340846" cy="1336928"/>
          </a:xfrm>
        </p:spPr>
        <p:txBody>
          <a:bodyPr/>
          <a:lstStyle/>
          <a:p>
            <a:r>
              <a:rPr lang="en-US"/>
              <a:t>OPI networking APIs</a:t>
            </a:r>
            <a:br>
              <a:rPr lang="en-US"/>
            </a:br>
            <a:r>
              <a:rPr lang="en-US"/>
              <a:t>- </a:t>
            </a:r>
            <a:r>
              <a:rPr lang="en-US" err="1"/>
              <a:t>usecase</a:t>
            </a:r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D7F833-BF9A-004C-EB73-0678C95D996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537334" y="246221"/>
            <a:ext cx="10487732" cy="573462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Device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Device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Device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r>
              <a:rPr lang="en-US" sz="1600" dirty="0">
                <a:solidFill>
                  <a:srgbClr val="24292F"/>
                </a:solidFill>
                <a:latin typeface="ui-monospace"/>
              </a:rPr>
              <a:t> </a:t>
            </a:r>
            <a:r>
              <a:rPr lang="en-US" sz="1200" i="1" dirty="0" err="1">
                <a:solidFill>
                  <a:srgbClr val="0070C0"/>
                </a:solidFill>
                <a:ea typeface="+mn-lt"/>
                <a:cs typeface="+mn-lt"/>
              </a:rPr>
              <a:t>device.proto</a:t>
            </a:r>
            <a:endParaRPr lang="en-US" sz="1200" i="1" dirty="0">
              <a:solidFill>
                <a:srgbClr val="0070C0"/>
              </a:solidFill>
              <a:latin typeface="ui-monospace"/>
            </a:endParaRPr>
          </a:p>
          <a:p>
            <a:r>
              <a:rPr lang="en-US" sz="1600" b="1" dirty="0">
                <a:latin typeface="ui-monospace"/>
              </a:rPr>
              <a:t>Directly connected interfaces:</a:t>
            </a: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Interface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Interface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Interface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r>
              <a:rPr lang="en-US" sz="1400" dirty="0">
                <a:solidFill>
                  <a:srgbClr val="24292F"/>
                </a:solidFill>
                <a:latin typeface="ui-monospace"/>
              </a:rPr>
              <a:t> </a:t>
            </a:r>
            <a:r>
              <a:rPr lang="en-US" sz="1200" i="1" dirty="0" err="1">
                <a:solidFill>
                  <a:srgbClr val="0070C0"/>
                </a:solidFill>
                <a:ea typeface="+mn-lt"/>
                <a:cs typeface="+mn-lt"/>
              </a:rPr>
              <a:t>interface.proto</a:t>
            </a:r>
            <a:endParaRPr lang="en-US" sz="1200" i="1" dirty="0">
              <a:solidFill>
                <a:srgbClr val="0070C0"/>
              </a:solidFill>
              <a:ea typeface="+mn-lt"/>
              <a:cs typeface="+mn-lt"/>
            </a:endParaRPr>
          </a:p>
          <a:p>
            <a:pPr lvl="1"/>
            <a:r>
              <a:rPr lang="en-US" sz="1200" b="0" i="1" dirty="0">
                <a:solidFill>
                  <a:srgbClr val="0070C0"/>
                </a:solidFill>
                <a:effectLst/>
                <a:highlight>
                  <a:srgbClr val="FFFF00"/>
                </a:highlight>
                <a:ea typeface="+mn-lt"/>
                <a:cs typeface="+mn-lt"/>
              </a:rPr>
              <a:t>Layer 1 APIs</a:t>
            </a:r>
          </a:p>
          <a:p>
            <a:pPr lvl="1"/>
            <a:endParaRPr lang="en-US" sz="1200" i="1" dirty="0">
              <a:solidFill>
                <a:srgbClr val="0070C0"/>
              </a:solidFill>
              <a:highlight>
                <a:srgbClr val="FFFF00"/>
              </a:highlight>
              <a:ea typeface="+mn-lt"/>
              <a:cs typeface="+mn-lt"/>
            </a:endParaRPr>
          </a:p>
          <a:p>
            <a:r>
              <a:rPr lang="en-US" sz="1200" b="0" i="1" dirty="0">
                <a:solidFill>
                  <a:srgbClr val="0070C0"/>
                </a:solidFill>
                <a:effectLst/>
                <a:highlight>
                  <a:srgbClr val="FFFF00"/>
                </a:highlight>
                <a:ea typeface="+mn-lt"/>
                <a:cs typeface="+mn-lt"/>
              </a:rPr>
              <a:t>Layer 2 connectivity (subsequent PR)</a:t>
            </a:r>
          </a:p>
          <a:p>
            <a:pPr lvl="1"/>
            <a:endParaRPr lang="en-US" sz="1600" b="0" i="0" dirty="0">
              <a:effectLst/>
              <a:latin typeface="ui-monospace"/>
            </a:endParaRPr>
          </a:p>
          <a:p>
            <a:r>
              <a:rPr lang="en-US" sz="1600" b="1" dirty="0">
                <a:latin typeface="ui-monospace"/>
              </a:rPr>
              <a:t>Routing to ensure VTEPs are reachable: </a:t>
            </a:r>
            <a:r>
              <a:rPr lang="en-US" sz="1200" i="1" dirty="0" err="1">
                <a:solidFill>
                  <a:srgbClr val="0070C0"/>
                </a:solidFill>
                <a:ea typeface="+mn-lt"/>
                <a:cs typeface="+mn-lt"/>
              </a:rPr>
              <a:t>bgp.proto</a:t>
            </a:r>
            <a:endParaRPr lang="en-US" sz="1200" i="1" dirty="0">
              <a:solidFill>
                <a:srgbClr val="0070C0"/>
              </a:solidFill>
              <a:effectLst/>
              <a:ea typeface="+mn-lt"/>
              <a:cs typeface="+mn-lt"/>
            </a:endParaRP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BGP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endParaRPr lang="en-US" sz="1600" b="0" i="0" dirty="0">
              <a:effectLst/>
              <a:latin typeface="ui-monospace"/>
            </a:endParaRP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BGPPeer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Peer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Peer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BGPPeerAf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PeerAf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BGPPeerAf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r>
              <a:rPr lang="en-US" sz="1400" dirty="0">
                <a:solidFill>
                  <a:srgbClr val="24292F"/>
                </a:solidFill>
                <a:highlight>
                  <a:srgbClr val="FFFF00"/>
                </a:highlight>
                <a:latin typeface="ui-monospace"/>
              </a:rPr>
              <a:t>Static routing instead of </a:t>
            </a:r>
            <a:r>
              <a:rPr lang="en-US" sz="1400" dirty="0" err="1">
                <a:solidFill>
                  <a:srgbClr val="24292F"/>
                </a:solidFill>
                <a:highlight>
                  <a:srgbClr val="FFFF00"/>
                </a:highlight>
                <a:latin typeface="ui-monospace"/>
              </a:rPr>
              <a:t>bgp</a:t>
            </a:r>
            <a:r>
              <a:rPr lang="en-US" sz="1400" dirty="0">
                <a:solidFill>
                  <a:srgbClr val="24292F"/>
                </a:solidFill>
                <a:highlight>
                  <a:srgbClr val="FFFF00"/>
                </a:highlight>
                <a:latin typeface="ui-monospace"/>
              </a:rPr>
              <a:t> to simplify</a:t>
            </a:r>
            <a:endParaRPr lang="en-US" sz="1600" dirty="0">
              <a:highlight>
                <a:srgbClr val="FFFF00"/>
              </a:highlight>
              <a:latin typeface="ui-monospace"/>
            </a:endParaRPr>
          </a:p>
          <a:p>
            <a:endParaRPr lang="en-US" sz="1600" b="0" i="0" dirty="0">
              <a:effectLst/>
              <a:latin typeface="ui-monospace"/>
            </a:endParaRPr>
          </a:p>
          <a:p>
            <a:r>
              <a:rPr lang="en-US" sz="1600" b="1" dirty="0">
                <a:latin typeface="ui-monospace"/>
              </a:rPr>
              <a:t>VXLAN tunneling:</a:t>
            </a:r>
          </a:p>
          <a:p>
            <a:pPr lvl="1"/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Vnic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Vnic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Vnic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r>
              <a:rPr lang="en-US" sz="1600" dirty="0">
                <a:solidFill>
                  <a:srgbClr val="24292F"/>
                </a:solidFill>
                <a:latin typeface="ui-monospace"/>
              </a:rPr>
              <a:t> </a:t>
            </a:r>
            <a:r>
              <a:rPr lang="en-US" sz="1200" i="1" dirty="0" err="1">
                <a:solidFill>
                  <a:srgbClr val="0070C0"/>
                </a:solidFill>
                <a:ea typeface="+mn-lt"/>
                <a:cs typeface="+mn-lt"/>
              </a:rPr>
              <a:t>vnic.proto</a:t>
            </a:r>
            <a:endParaRPr lang="en-US" sz="1200" i="1" dirty="0">
              <a:solidFill>
                <a:srgbClr val="0070C0"/>
              </a:solidFill>
              <a:ea typeface="+mn-lt"/>
              <a:cs typeface="+mn-lt"/>
            </a:endParaRPr>
          </a:p>
          <a:p>
            <a:pPr lvl="1"/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VPC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VPC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VPC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Subnet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Subnet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Subnet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Tunnel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Tunnel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Tunnel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600" b="0" i="0" dirty="0" err="1">
                <a:effectLst/>
                <a:latin typeface="ui-monospace"/>
              </a:rPr>
              <a:t>rpc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600" b="0" i="0" dirty="0" err="1">
                <a:effectLst/>
                <a:latin typeface="ui-monospace"/>
              </a:rPr>
              <a:t>MappingCreat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MappingRequest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600" b="0" i="0" dirty="0">
                <a:effectLst/>
                <a:latin typeface="ui-monospace"/>
              </a:rPr>
              <a:t>returns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600" b="0" i="0" dirty="0" err="1">
                <a:effectLst/>
                <a:latin typeface="ui-monospace"/>
              </a:rPr>
              <a:t>MappingResponse</a:t>
            </a:r>
            <a:r>
              <a:rPr lang="en-US" sz="16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RouteTable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RouteTable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RouteTable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400" b="0" i="0" dirty="0" err="1">
                <a:solidFill>
                  <a:srgbClr val="24292F"/>
                </a:solidFill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ui-monospace"/>
              </a:rPr>
              <a:t>Route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ui-monospace"/>
              </a:rPr>
              <a:t>Route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returns (</a:t>
            </a:r>
            <a:r>
              <a:rPr lang="en-US" sz="1400" b="0" i="0" dirty="0" err="1">
                <a:solidFill>
                  <a:srgbClr val="24292F"/>
                </a:solidFill>
                <a:effectLst/>
                <a:latin typeface="ui-monospace"/>
              </a:rPr>
              <a:t>Route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endParaRPr lang="en-US" sz="1600" b="0" i="0" dirty="0">
              <a:solidFill>
                <a:srgbClr val="24292F"/>
              </a:solidFill>
              <a:effectLst/>
              <a:latin typeface="ui-monospace"/>
            </a:endParaRPr>
          </a:p>
          <a:p>
            <a:pPr lvl="1"/>
            <a:endParaRPr lang="en-US" sz="1600" b="0" i="0" dirty="0">
              <a:solidFill>
                <a:srgbClr val="24292F"/>
              </a:solidFill>
              <a:effectLst/>
              <a:latin typeface="ui-monospace"/>
            </a:endParaRPr>
          </a:p>
          <a:p>
            <a:r>
              <a:rPr lang="en-US" sz="1600" b="1" dirty="0">
                <a:solidFill>
                  <a:srgbClr val="24292F"/>
                </a:solidFill>
                <a:latin typeface="ui-monospace"/>
              </a:rPr>
              <a:t>ACLs </a:t>
            </a:r>
            <a:r>
              <a:rPr lang="en-US" sz="1200" i="1" dirty="0" err="1">
                <a:solidFill>
                  <a:srgbClr val="0070C0"/>
                </a:solidFill>
                <a:ea typeface="+mn-lt"/>
                <a:cs typeface="+mn-lt"/>
              </a:rPr>
              <a:t>policy.proto</a:t>
            </a:r>
            <a:endParaRPr lang="en-US" sz="1200" i="1" dirty="0">
              <a:solidFill>
                <a:srgbClr val="0070C0"/>
              </a:solidFill>
              <a:effectLst/>
              <a:ea typeface="+mn-lt"/>
              <a:cs typeface="+mn-lt"/>
            </a:endParaRP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SecurityProfile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Profile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Profile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SecurityPolicy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Policy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Policy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</a:p>
          <a:p>
            <a:pPr lvl="1"/>
            <a:r>
              <a:rPr lang="en-US" sz="1400" b="0" i="0" dirty="0" err="1">
                <a:effectLst/>
                <a:latin typeface="ui-monospace"/>
              </a:rPr>
              <a:t>rpc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</a:t>
            </a:r>
            <a:r>
              <a:rPr lang="en-US" sz="1400" b="0" i="0" dirty="0" err="1">
                <a:effectLst/>
                <a:latin typeface="ui-monospace"/>
              </a:rPr>
              <a:t>SecurityRuleCreat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RuleRequest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</a:t>
            </a:r>
            <a:r>
              <a:rPr lang="en-US" sz="1400" b="0" i="0" dirty="0">
                <a:effectLst/>
                <a:latin typeface="ui-monospace"/>
              </a:rPr>
              <a:t>returns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 (</a:t>
            </a:r>
            <a:r>
              <a:rPr lang="en-US" sz="1400" b="0" i="0" dirty="0" err="1">
                <a:effectLst/>
                <a:latin typeface="ui-monospace"/>
              </a:rPr>
              <a:t>SecurityRuleResponse</a:t>
            </a:r>
            <a:r>
              <a:rPr lang="en-US" sz="1400" b="0" i="0" dirty="0">
                <a:solidFill>
                  <a:srgbClr val="24292F"/>
                </a:solidFill>
                <a:effectLst/>
                <a:latin typeface="ui-monospace"/>
              </a:rPr>
              <a:t>) {}</a:t>
            </a:r>
            <a:endParaRPr lang="en-US" sz="1600" b="0" i="0" dirty="0">
              <a:solidFill>
                <a:srgbClr val="24292F"/>
              </a:solidFill>
              <a:effectLst/>
              <a:latin typeface="ui-monospace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E3154B-A0F2-89CD-A37B-B48725B2D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298" y="0"/>
            <a:ext cx="11293597" cy="492443"/>
          </a:xfrm>
        </p:spPr>
        <p:txBody>
          <a:bodyPr/>
          <a:lstStyle/>
          <a:p>
            <a:r>
              <a:rPr lang="en-US"/>
              <a:t>API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752CF-C6AE-4E88-A61A-9F479DFF6A71}"/>
              </a:ext>
            </a:extLst>
          </p:cNvPr>
          <p:cNvSpPr txBox="1"/>
          <p:nvPr/>
        </p:nvSpPr>
        <p:spPr>
          <a:xfrm>
            <a:off x="3791290" y="6310023"/>
            <a:ext cx="6096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u="sng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github.com/opiproject/opi-api/pull/128</a:t>
            </a:r>
            <a:endParaRPr lang="en-US" sz="1800" u="sng">
              <a:solidFill>
                <a:srgbClr val="0000FF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3" name="Picture 4" descr="Table&#10;&#10;Description automatically generated">
            <a:extLst>
              <a:ext uri="{FF2B5EF4-FFF2-40B4-BE49-F238E27FC236}">
                <a16:creationId xmlns:a16="http://schemas.microsoft.com/office/drawing/2014/main" id="{B3B37BA3-CC22-929A-2F7D-9D6BB4527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5633" y="331845"/>
            <a:ext cx="2743200" cy="152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86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858F9A-BFBB-299C-2F61-269F7E1EE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79309"/>
            <a:ext cx="12192000" cy="4699382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6E4FC3F4-404F-FEB5-9914-7E6B0B557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</p:spPr>
        <p:txBody>
          <a:bodyPr/>
          <a:lstStyle/>
          <a:p>
            <a:r>
              <a:rPr lang="en-US"/>
              <a:t>Demo topology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D0B3378-28B1-3506-DAF4-B7B70B00F4FB}"/>
              </a:ext>
            </a:extLst>
          </p:cNvPr>
          <p:cNvSpPr/>
          <p:nvPr/>
        </p:nvSpPr>
        <p:spPr>
          <a:xfrm>
            <a:off x="7402068" y="1408176"/>
            <a:ext cx="1613916" cy="1289304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864752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B66DAA-0F22-E71B-BDC2-EF47F70A1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b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47B8BD-69BE-39CF-A1D5-FBB4951426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66" y="1372687"/>
            <a:ext cx="6540098" cy="490862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647FBBC-D0F9-3402-03CA-3CE14EAD3D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5893" y="169400"/>
            <a:ext cx="4877415" cy="3657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2BA0896-1B67-3051-E6DD-1C8301E85D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5513" y="3827000"/>
            <a:ext cx="2667000" cy="254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16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14C7797-5D00-2B35-0B70-04DEA9B72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253" y="2318657"/>
            <a:ext cx="4122965" cy="1583872"/>
          </a:xfrm>
        </p:spPr>
        <p:txBody>
          <a:bodyPr/>
          <a:lstStyle/>
          <a:p>
            <a:r>
              <a:rPr lang="en-US" sz="960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81044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9E4966B-4DB4-4551-3791-C7CB1A6345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8976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BAA225-EB73-39D9-7E26-E2CDEECF1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97693"/>
            <a:ext cx="12192000" cy="640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26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V4" id="{DC4312CC-30E5-4849-A086-7C4D73FA20C3}" vid="{09E1BDF4-1885-4DAF-8E1B-4BD8F029A7C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0</TotalTime>
  <Words>223</Words>
  <Application>Microsoft Office PowerPoint</Application>
  <PresentationFormat>Widescreen</PresentationFormat>
  <Paragraphs>3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Franklin Gothic Book</vt:lpstr>
      <vt:lpstr>ui-monospace</vt:lpstr>
      <vt:lpstr>2017 Keysight Macro LIGHT</vt:lpstr>
      <vt:lpstr>think-cell Slide</vt:lpstr>
      <vt:lpstr>OPI networking APIs - usecase -</vt:lpstr>
      <vt:lpstr>APIs</vt:lpstr>
      <vt:lpstr>Demo topology</vt:lpstr>
      <vt:lpstr>Testbed</vt:lpstr>
      <vt:lpstr>DEMO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cea Dan Gheorghe</dc:creator>
  <cp:lastModifiedBy>Mircea Dan Gheorghe</cp:lastModifiedBy>
  <cp:revision>6</cp:revision>
  <dcterms:created xsi:type="dcterms:W3CDTF">2022-12-02T21:12:15Z</dcterms:created>
  <dcterms:modified xsi:type="dcterms:W3CDTF">2022-12-15T18:00:13Z</dcterms:modified>
</cp:coreProperties>
</file>